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6-4867-9057-22D17809E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9B56F6-7286-E9B2-1640-66C4A0843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05AA8B-C0C6-6D35-8E8A-5AC012B518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05AA8B-C0C6-6D35-8E8A-5AC012B518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E10EC4A-A751-0F46-474C-38B34D16A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Bar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339CB4D-681A-5009-5909-ADD6E4E91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E571E27-53A6-B99E-72DD-0F59D02EB4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7BF91EC-7D33-E33F-C0D7-00BE099653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D4ABDD75-D941-0886-0319-47868CD130F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10695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1</cp:revision>
  <dcterms:created xsi:type="dcterms:W3CDTF">2025-07-09T10:57:17Z</dcterms:created>
  <dcterms:modified xsi:type="dcterms:W3CDTF">2025-10-22T09:46:33Z</dcterms:modified>
  <cp:category/>
</cp:coreProperties>
</file>